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6" r:id="rId2"/>
    <p:sldId id="321" r:id="rId3"/>
    <p:sldId id="322" r:id="rId4"/>
    <p:sldId id="313" r:id="rId5"/>
    <p:sldId id="312" r:id="rId6"/>
    <p:sldId id="320" r:id="rId7"/>
    <p:sldId id="345" r:id="rId8"/>
    <p:sldId id="319" r:id="rId9"/>
    <p:sldId id="318" r:id="rId10"/>
    <p:sldId id="334" r:id="rId11"/>
    <p:sldId id="324" r:id="rId12"/>
    <p:sldId id="325" r:id="rId13"/>
    <p:sldId id="327" r:id="rId14"/>
    <p:sldId id="326" r:id="rId15"/>
    <p:sldId id="328" r:id="rId16"/>
    <p:sldId id="342" r:id="rId17"/>
    <p:sldId id="343" r:id="rId18"/>
    <p:sldId id="344" r:id="rId19"/>
    <p:sldId id="329" r:id="rId20"/>
    <p:sldId id="280" r:id="rId21"/>
    <p:sldId id="332" r:id="rId22"/>
    <p:sldId id="333" r:id="rId23"/>
    <p:sldId id="335" r:id="rId24"/>
    <p:sldId id="336" r:id="rId25"/>
    <p:sldId id="346" r:id="rId26"/>
    <p:sldId id="340" r:id="rId27"/>
    <p:sldId id="330" r:id="rId28"/>
    <p:sldId id="339" r:id="rId29"/>
    <p:sldId id="338" r:id="rId30"/>
    <p:sldId id="341" r:id="rId31"/>
    <p:sldId id="347" r:id="rId32"/>
    <p:sldId id="279" r:id="rId33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21"/>
            <p14:sldId id="322"/>
            <p14:sldId id="313"/>
            <p14:sldId id="312"/>
            <p14:sldId id="320"/>
            <p14:sldId id="345"/>
            <p14:sldId id="319"/>
            <p14:sldId id="318"/>
            <p14:sldId id="334"/>
            <p14:sldId id="324"/>
            <p14:sldId id="325"/>
            <p14:sldId id="327"/>
            <p14:sldId id="326"/>
            <p14:sldId id="328"/>
            <p14:sldId id="342"/>
            <p14:sldId id="343"/>
            <p14:sldId id="344"/>
            <p14:sldId id="329"/>
            <p14:sldId id="280"/>
            <p14:sldId id="332"/>
            <p14:sldId id="333"/>
            <p14:sldId id="335"/>
            <p14:sldId id="336"/>
            <p14:sldId id="346"/>
            <p14:sldId id="340"/>
            <p14:sldId id="330"/>
            <p14:sldId id="339"/>
            <p14:sldId id="338"/>
            <p14:sldId id="341"/>
            <p14:sldId id="347"/>
            <p14:sldId id="279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9" autoAdjust="0"/>
    <p:restoredTop sz="99343" autoAdjust="0"/>
  </p:normalViewPr>
  <p:slideViewPr>
    <p:cSldViewPr snapToGrid="0" snapToObjects="1">
      <p:cViewPr>
        <p:scale>
          <a:sx n="120" d="100"/>
          <a:sy n="120" d="100"/>
        </p:scale>
        <p:origin x="-616" y="3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printerSettings" Target="printerSettings/printerSettings1.bin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09.11.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09.11.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4" Type="http://schemas.openxmlformats.org/officeDocument/2006/relationships/image" Target="../media/image23.jpeg"/><Relationship Id="rId5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6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png"/><Relationship Id="rId5" Type="http://schemas.openxmlformats.org/officeDocument/2006/relationships/image" Target="../media/image31.jpeg"/><Relationship Id="rId6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8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3.png"/><Relationship Id="rId3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4" Type="http://schemas.openxmlformats.org/officeDocument/2006/relationships/image" Target="../media/image36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4" Type="http://schemas.openxmlformats.org/officeDocument/2006/relationships/image" Target="../media/image43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1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jpg"/><Relationship Id="rId3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7.jpeg"/><Relationship Id="rId3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6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Entstehung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modernen</a:t>
            </a:r>
            <a:r>
              <a:rPr lang="it-IT" dirty="0" smtClean="0"/>
              <a:t> </a:t>
            </a:r>
            <a:r>
              <a:rPr lang="it-IT" dirty="0" err="1" smtClean="0"/>
              <a:t>ikonografi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45656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</a:t>
            </a:r>
            <a:r>
              <a:rPr lang="it-IT" dirty="0"/>
              <a:t>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4" name="Textfeld 3"/>
          <p:cNvSpPr txBox="1"/>
          <p:nvPr/>
        </p:nvSpPr>
        <p:spPr>
          <a:xfrm>
            <a:off x="2652575" y="4919008"/>
            <a:ext cx="20389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0" dirty="0" smtClean="0">
                <a:solidFill>
                  <a:schemeClr val="bg1"/>
                </a:solidFill>
                <a:latin typeface="Avenir Light"/>
                <a:cs typeface="Avenir Light"/>
              </a:rPr>
              <a:t>Aa</a:t>
            </a:r>
            <a:r>
              <a:rPr lang="de-DE" sz="12000" dirty="0" smtClean="0">
                <a:solidFill>
                  <a:schemeClr val="bg1"/>
                </a:solidFill>
                <a:latin typeface="Ayuthaya"/>
                <a:cs typeface="Ayuthaya"/>
              </a:rPr>
              <a:t> </a:t>
            </a:r>
            <a:endParaRPr lang="de-DE" sz="12000" dirty="0">
              <a:solidFill>
                <a:schemeClr val="bg1"/>
              </a:solidFill>
              <a:latin typeface="Ayuthaya"/>
              <a:cs typeface="Ayuthaya"/>
            </a:endParaRPr>
          </a:p>
        </p:txBody>
      </p:sp>
      <p:pic>
        <p:nvPicPr>
          <p:cNvPr id="5" name="Bild 4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2828" y="5153259"/>
            <a:ext cx="1562256" cy="1562256"/>
          </a:xfrm>
          <a:prstGeom prst="rect">
            <a:avLst/>
          </a:prstGeom>
        </p:spPr>
      </p:pic>
      <p:pic>
        <p:nvPicPr>
          <p:cNvPr id="7" name="Bild 6" descr="Eye_of_Horus_Right.svg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49" y="5227340"/>
            <a:ext cx="1820203" cy="140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Aus</a:t>
            </a:r>
            <a:r>
              <a:rPr lang="it-IT" dirty="0" smtClean="0"/>
              <a:t> 100 </a:t>
            </a:r>
            <a:r>
              <a:rPr lang="it-IT" dirty="0" err="1" smtClean="0"/>
              <a:t>wird</a:t>
            </a:r>
            <a:r>
              <a:rPr lang="it-IT" dirty="0" smtClean="0"/>
              <a:t> 100.000</a:t>
            </a:r>
            <a:endParaRPr lang="it-IT" sz="1600" dirty="0">
              <a:latin typeface="+mj-lt"/>
            </a:endParaRPr>
          </a:p>
        </p:txBody>
      </p:sp>
      <p:pic>
        <p:nvPicPr>
          <p:cNvPr id="8" name="Bild 7" descr="AR-301129944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68012" y="1431093"/>
            <a:ext cx="2983238" cy="3202375"/>
          </a:xfrm>
          <a:prstGeom prst="rect">
            <a:avLst/>
          </a:prstGeom>
        </p:spPr>
      </p:pic>
      <p:pic>
        <p:nvPicPr>
          <p:cNvPr id="14" name="Bild 13" descr="smiley-face-1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2780" y="3347993"/>
            <a:ext cx="1970653" cy="196393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hteck 12"/>
          <p:cNvSpPr/>
          <p:nvPr/>
        </p:nvSpPr>
        <p:spPr>
          <a:xfrm>
            <a:off x="8322246" y="6033701"/>
            <a:ext cx="8217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👍</a:t>
            </a:r>
          </a:p>
        </p:txBody>
      </p:sp>
      <p:pic>
        <p:nvPicPr>
          <p:cNvPr id="2" name="Bild 1" descr="Authentic_Worcester-made_smiley_face,_Harvey_Ball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417" y="1512586"/>
            <a:ext cx="2998829" cy="3936925"/>
          </a:xfrm>
          <a:prstGeom prst="rect">
            <a:avLst/>
          </a:prstGeom>
        </p:spPr>
      </p:pic>
      <p:sp>
        <p:nvSpPr>
          <p:cNvPr id="7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“I </a:t>
            </a:r>
            <a:r>
              <a:rPr lang="it-IT" dirty="0" err="1" smtClean="0">
                <a:solidFill>
                  <a:srgbClr val="000000"/>
                </a:solidFill>
              </a:rPr>
              <a:t>am</a:t>
            </a:r>
            <a:r>
              <a:rPr lang="it-IT" dirty="0" smtClean="0">
                <a:solidFill>
                  <a:srgbClr val="000000"/>
                </a:solidFill>
              </a:rPr>
              <a:t> happy.”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2452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Woher</a:t>
            </a:r>
            <a:r>
              <a:rPr lang="it-IT" dirty="0" smtClean="0"/>
              <a:t> </a:t>
            </a:r>
            <a:r>
              <a:rPr lang="it-IT" dirty="0" err="1" smtClean="0"/>
              <a:t>kam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erfolg</a:t>
            </a:r>
            <a:r>
              <a:rPr lang="it-IT" dirty="0" smtClean="0"/>
              <a:t>?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70083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mr-IN" sz="4000" dirty="0" smtClean="0"/>
              <a:t>🤷</a:t>
            </a:r>
            <a:r>
              <a:rPr lang="mr-IN" dirty="0" smtClean="0"/>
              <a:t>‍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164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73853" y="1677226"/>
            <a:ext cx="3933594" cy="4049711"/>
          </a:xfrm>
        </p:spPr>
        <p:txBody>
          <a:bodyPr/>
          <a:lstStyle/>
          <a:p>
            <a:r>
              <a:rPr lang="it-IT" sz="1800" dirty="0" err="1" smtClean="0">
                <a:solidFill>
                  <a:srgbClr val="000000"/>
                </a:solidFill>
              </a:rPr>
              <a:t>Symbol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übermitteln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ergleichsweis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iel</a:t>
            </a:r>
            <a:r>
              <a:rPr lang="it-IT" sz="1800" dirty="0" smtClean="0">
                <a:solidFill>
                  <a:srgbClr val="000000"/>
                </a:solidFill>
              </a:rPr>
              <a:t> an Information</a:t>
            </a:r>
            <a:endParaRPr lang="it-IT" sz="1800" dirty="0" smtClean="0">
              <a:solidFill>
                <a:srgbClr val="000000"/>
              </a:solidFill>
            </a:endParaRPr>
          </a:p>
          <a:p>
            <a:endParaRPr lang="it-IT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Der Mensch „füllt die Lücken“</a:t>
            </a:r>
            <a:endParaRPr lang="it-IT" sz="1800" dirty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sind größtenteils </a:t>
            </a: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unabhängig von Sprache und Kultur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abstrahieren Handlungen, Gegenstände, Sätze, Emotionen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err="1" smtClean="0">
                <a:solidFill>
                  <a:srgbClr val="000000"/>
                </a:solidFill>
                <a:cs typeface="Proxima Nova Regular"/>
              </a:rPr>
              <a:t>Emojis</a:t>
            </a: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 sind Schriftzeichen</a:t>
            </a: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 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Icon</a:t>
            </a:r>
            <a:r>
              <a:rPr lang="it-IT" dirty="0" smtClean="0">
                <a:solidFill>
                  <a:srgbClr val="000000"/>
                </a:solidFill>
              </a:rPr>
              <a:t>, emoticon, </a:t>
            </a:r>
            <a:r>
              <a:rPr lang="it-IT" dirty="0" err="1" smtClean="0">
                <a:solidFill>
                  <a:srgbClr val="000000"/>
                </a:solidFill>
              </a:rPr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 err="1">
                <a:latin typeface="+mj-lt"/>
              </a:rPr>
              <a:t>εἰκών</a:t>
            </a:r>
            <a:r>
              <a:rPr lang="de-DE" dirty="0">
                <a:latin typeface="+mj-lt"/>
              </a:rPr>
              <a:t> </a:t>
            </a:r>
            <a:r>
              <a:rPr lang="de-DE" dirty="0" smtClean="0">
                <a:latin typeface="+mj-lt"/>
              </a:rPr>
              <a:t> =&gt; „Bildnis“</a:t>
            </a:r>
            <a:endParaRPr lang="de-DE" dirty="0">
              <a:latin typeface="+mj-lt"/>
            </a:endParaRPr>
          </a:p>
        </p:txBody>
      </p:sp>
      <p:pic>
        <p:nvPicPr>
          <p:cNvPr id="5" name="Bild 4" descr="1024px-The_Ladder_of_Divine_Ascent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1700" y="1694303"/>
            <a:ext cx="2560316" cy="3360414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305799" y="6194981"/>
            <a:ext cx="5368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🔎</a:t>
            </a:r>
          </a:p>
        </p:txBody>
      </p:sp>
      <p:sp>
        <p:nvSpPr>
          <p:cNvPr id="12" name="Rechteck 11"/>
          <p:cNvSpPr/>
          <p:nvPr/>
        </p:nvSpPr>
        <p:spPr>
          <a:xfrm>
            <a:off x="4479666" y="3244334"/>
            <a:ext cx="294983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0" dirty="0"/>
              <a:t>💸</a:t>
            </a:r>
          </a:p>
        </p:txBody>
      </p:sp>
    </p:spTree>
    <p:extLst>
      <p:ext uri="{BB962C8B-B14F-4D97-AF65-F5344CB8AC3E}">
        <p14:creationId xmlns:p14="http://schemas.microsoft.com/office/powerpoint/2010/main" val="3440511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 descr="BMW-M2-Coupe_drift_seite_front_reife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2168" y="-148168"/>
            <a:ext cx="10509251" cy="7006167"/>
          </a:xfrm>
          <a:prstGeom prst="rect">
            <a:avLst/>
          </a:prstGeom>
        </p:spPr>
      </p:pic>
      <p:sp>
        <p:nvSpPr>
          <p:cNvPr id="15" name="Rechteck 6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Übermittl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in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botschaft</a:t>
            </a:r>
            <a:r>
              <a:rPr lang="it-IT" dirty="0" smtClean="0">
                <a:solidFill>
                  <a:srgbClr val="000000"/>
                </a:solidFill>
              </a:rPr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sz="1800" dirty="0" smtClean="0">
                <a:latin typeface="+mj-lt"/>
              </a:rPr>
              <a:t>Werbespruch, nein!    </a:t>
            </a:r>
            <a:r>
              <a:rPr lang="de-DE" sz="1800" dirty="0" err="1" smtClean="0">
                <a:latin typeface="+mj-lt"/>
              </a:rPr>
              <a:t>Emoji</a:t>
            </a:r>
            <a:r>
              <a:rPr lang="de-DE" sz="1800" dirty="0" smtClean="0">
                <a:latin typeface="+mj-lt"/>
              </a:rPr>
              <a:t>, ja!</a:t>
            </a:r>
            <a:endParaRPr lang="de-DE" sz="1800" dirty="0">
              <a:latin typeface="+mj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29965" y="2222500"/>
            <a:ext cx="781205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latin typeface="Arial"/>
                <a:cs typeface="Arial"/>
              </a:rPr>
              <a:t>„Freude am Fahren“</a:t>
            </a:r>
            <a:endParaRPr lang="de-DE" sz="6000" b="1" dirty="0" smtClean="0">
              <a:latin typeface="Arial"/>
              <a:cs typeface="Arial"/>
            </a:endParaRPr>
          </a:p>
        </p:txBody>
      </p:sp>
      <p:cxnSp>
        <p:nvCxnSpPr>
          <p:cNvPr id="9" name="Gerade Verbindung 8"/>
          <p:cNvCxnSpPr/>
          <p:nvPr/>
        </p:nvCxnSpPr>
        <p:spPr>
          <a:xfrm flipV="1">
            <a:off x="1828800" y="1778000"/>
            <a:ext cx="5524500" cy="21717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1092200" y="2222500"/>
            <a:ext cx="7188200" cy="12573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8427716" y="6035814"/>
            <a:ext cx="5114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🎯</a:t>
            </a:r>
          </a:p>
        </p:txBody>
      </p:sp>
      <p:sp>
        <p:nvSpPr>
          <p:cNvPr id="13" name="Rechteck 12"/>
          <p:cNvSpPr/>
          <p:nvPr/>
        </p:nvSpPr>
        <p:spPr>
          <a:xfrm>
            <a:off x="3844666" y="3752334"/>
            <a:ext cx="207353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🏎</a:t>
            </a:r>
          </a:p>
        </p:txBody>
      </p:sp>
    </p:spTree>
    <p:extLst>
      <p:ext uri="{BB962C8B-B14F-4D97-AF65-F5344CB8AC3E}">
        <p14:creationId xmlns:p14="http://schemas.microsoft.com/office/powerpoint/2010/main" val="3757820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übersetzungen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778310"/>
              </p:ext>
            </p:extLst>
          </p:nvPr>
        </p:nvGraphicFramePr>
        <p:xfrm>
          <a:off x="603249" y="1243363"/>
          <a:ext cx="8212669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931"/>
                <a:gridCol w="3446331"/>
                <a:gridCol w="306040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ICON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der 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Speichern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Liebe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)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grinse“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 (1982, S. </a:t>
                      </a: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Fahlman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)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€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bin ein Walross“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...vertippt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Bild 13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2719322"/>
            <a:ext cx="760478" cy="760478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676119" y="3790434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❤️</a:t>
            </a:r>
          </a:p>
        </p:txBody>
      </p:sp>
      <p:sp>
        <p:nvSpPr>
          <p:cNvPr id="7" name="Rechteck 6"/>
          <p:cNvSpPr/>
          <p:nvPr/>
        </p:nvSpPr>
        <p:spPr>
          <a:xfrm>
            <a:off x="8395501" y="6112415"/>
            <a:ext cx="5050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🗃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bilden</a:t>
            </a:r>
            <a:r>
              <a:rPr lang="it-IT" dirty="0" smtClean="0"/>
              <a:t> </a:t>
            </a:r>
            <a:r>
              <a:rPr lang="it-IT" dirty="0" err="1" smtClean="0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2780627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192338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78655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58417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mojis</a:t>
            </a:r>
            <a:r>
              <a:rPr lang="it-IT" dirty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5" name="Rechteck 4"/>
          <p:cNvSpPr/>
          <p:nvPr/>
        </p:nvSpPr>
        <p:spPr>
          <a:xfrm>
            <a:off x="6532845" y="2421059"/>
            <a:ext cx="22724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0" dirty="0"/>
              <a:t>🍳</a:t>
            </a:r>
          </a:p>
        </p:txBody>
      </p:sp>
      <p:sp>
        <p:nvSpPr>
          <p:cNvPr id="7" name="Rechteck 6"/>
          <p:cNvSpPr/>
          <p:nvPr/>
        </p:nvSpPr>
        <p:spPr>
          <a:xfrm>
            <a:off x="8374335" y="6053610"/>
            <a:ext cx="526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😑</a:t>
            </a:r>
          </a:p>
        </p:txBody>
      </p:sp>
    </p:spTree>
    <p:extLst>
      <p:ext uri="{BB962C8B-B14F-4D97-AF65-F5344CB8AC3E}">
        <p14:creationId xmlns:p14="http://schemas.microsoft.com/office/powerpoint/2010/main" val="2611462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IMG_4038.JPG"/>
          <p:cNvPicPr>
            <a:picLocks noChangeAspect="1"/>
          </p:cNvPicPr>
          <p:nvPr/>
        </p:nvPicPr>
        <p:blipFill>
          <a:blip r:embed="rId2" cstate="screen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9700" y="-1989327"/>
            <a:ext cx="9283700" cy="12378267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in</a:t>
            </a:r>
            <a:r>
              <a:rPr lang="it-IT" dirty="0" smtClean="0"/>
              <a:t> </a:t>
            </a:r>
            <a:r>
              <a:rPr lang="it-IT" dirty="0" err="1" smtClean="0"/>
              <a:t>emoji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antik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r>
              <a:rPr lang="de-DE" dirty="0" smtClean="0"/>
              <a:t> und zum </a:t>
            </a:r>
            <a:r>
              <a:rPr lang="de-DE" dirty="0" err="1" smtClean="0"/>
              <a:t>icon</a:t>
            </a:r>
            <a:r>
              <a:rPr lang="de-DE" dirty="0" smtClean="0"/>
              <a:t> zurück  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3255075" y="845200"/>
            <a:ext cx="230411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0000" dirty="0">
                <a:latin typeface="Avenir Light"/>
                <a:cs typeface="Avenir Light"/>
              </a:rPr>
              <a:t>A</a:t>
            </a:r>
            <a:endParaRPr lang="de-DE" sz="30000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8359740" y="6098172"/>
            <a:ext cx="6863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🤔</a:t>
            </a: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$45,00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289031" y="6094336"/>
            <a:ext cx="50508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500" dirty="0"/>
              <a:t>💵</a:t>
            </a:r>
          </a:p>
        </p:txBody>
      </p:sp>
    </p:spTree>
    <p:extLst>
      <p:ext uri="{BB962C8B-B14F-4D97-AF65-F5344CB8AC3E}">
        <p14:creationId xmlns:p14="http://schemas.microsoft.com/office/powerpoint/2010/main" val="41805889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Aus</a:t>
            </a:r>
            <a:r>
              <a:rPr lang="it-IT" dirty="0"/>
              <a:t> </a:t>
            </a:r>
            <a:r>
              <a:rPr lang="it-IT" dirty="0" smtClean="0"/>
              <a:t>$45,00 </a:t>
            </a:r>
            <a:r>
              <a:rPr lang="it-IT" dirty="0" err="1" smtClean="0"/>
              <a:t>wird</a:t>
            </a:r>
            <a:r>
              <a:rPr lang="mr-IN" dirty="0" smtClean="0"/>
              <a:t>…</a:t>
            </a:r>
            <a:r>
              <a:rPr lang="de-DE" dirty="0" smtClean="0"/>
              <a:t> </a:t>
            </a:r>
            <a:r>
              <a:rPr lang="de-DE" dirty="0" err="1" smtClean="0"/>
              <a:t>ruhm</a:t>
            </a:r>
            <a:r>
              <a:rPr lang="de-DE" dirty="0" smtClean="0"/>
              <a:t> &amp; ehr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Harvey Ball </a:t>
            </a:r>
            <a:r>
              <a:rPr lang="it-IT" dirty="0" err="1" smtClean="0">
                <a:solidFill>
                  <a:srgbClr val="000000"/>
                </a:solidFill>
              </a:rPr>
              <a:t>is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weltwei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l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rfinder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de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miley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nerkannt</a:t>
            </a:r>
            <a:r>
              <a:rPr lang="it-IT" dirty="0" smtClean="0">
                <a:solidFill>
                  <a:srgbClr val="000000"/>
                </a:solidFill>
              </a:rPr>
              <a:t>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Bild 7" descr="HBall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76563">
            <a:off x="784506" y="1845202"/>
            <a:ext cx="1995344" cy="20041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d 14" descr="DLcagFyW0AEtnRu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6916" y="2233690"/>
            <a:ext cx="2942167" cy="26558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52097" y="6070084"/>
            <a:ext cx="9059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🌎 </a:t>
            </a:r>
          </a:p>
        </p:txBody>
      </p:sp>
      <p:pic>
        <p:nvPicPr>
          <p:cNvPr id="16" name="Bild 15" descr="Bildschirmfoto 2017-11-10 um 14.31.1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70644">
            <a:off x="5690279" y="2509953"/>
            <a:ext cx="2734054" cy="27340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Bild 16" descr="10262324124_bbac110746_b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763148">
            <a:off x="635065" y="3621294"/>
            <a:ext cx="2350486" cy="23098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Bild 17" descr="large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12932">
            <a:off x="4349750" y="3881968"/>
            <a:ext cx="2081679" cy="20150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98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Screen+Shot+2016-02-16+at+18.50.07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174" y="0"/>
            <a:ext cx="10221686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Open sourc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err="1" smtClean="0">
                <a:solidFill>
                  <a:srgbClr val="000000"/>
                </a:solidFill>
              </a:rPr>
              <a:t>Weder</a:t>
            </a:r>
            <a:r>
              <a:rPr lang="it-IT" dirty="0" smtClean="0">
                <a:solidFill>
                  <a:srgbClr val="000000"/>
                </a:solidFill>
              </a:rPr>
              <a:t> Harvey </a:t>
            </a:r>
            <a:r>
              <a:rPr lang="it-IT" dirty="0" err="1" smtClean="0">
                <a:solidFill>
                  <a:srgbClr val="000000"/>
                </a:solidFill>
              </a:rPr>
              <a:t>noch</a:t>
            </a:r>
            <a:r>
              <a:rPr lang="it-IT" dirty="0" smtClean="0">
                <a:solidFill>
                  <a:srgbClr val="000000"/>
                </a:solidFill>
              </a:rPr>
              <a:t> State </a:t>
            </a:r>
            <a:r>
              <a:rPr lang="it-IT" dirty="0" err="1" smtClean="0">
                <a:solidFill>
                  <a:srgbClr val="000000"/>
                </a:solidFill>
              </a:rPr>
              <a:t>Mutual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haben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ich</a:t>
            </a:r>
            <a:r>
              <a:rPr lang="it-IT" dirty="0" smtClean="0">
                <a:solidFill>
                  <a:srgbClr val="000000"/>
                </a:solidFill>
              </a:rPr>
              <a:t> die </a:t>
            </a:r>
            <a:r>
              <a:rPr lang="it-IT" dirty="0" err="1" smtClean="0">
                <a:solidFill>
                  <a:srgbClr val="000000"/>
                </a:solidFill>
              </a:rPr>
              <a:t>Nutzungsrecht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gesichert</a:t>
            </a:r>
            <a:r>
              <a:rPr lang="mr-IN" dirty="0" smtClean="0">
                <a:solidFill>
                  <a:srgbClr val="000000"/>
                </a:solidFill>
              </a:rPr>
              <a:t>…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„Hey, I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eat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ak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</a:t>
            </a:r>
            <a:r>
              <a:rPr lang="de-DE" dirty="0" smtClean="0"/>
              <a:t>,</a:t>
            </a:r>
          </a:p>
          <a:p>
            <a:r>
              <a:rPr lang="de-DE" dirty="0" err="1" smtClean="0"/>
              <a:t>drive</a:t>
            </a:r>
            <a:r>
              <a:rPr lang="de-DE" dirty="0" smtClean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r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. “</a:t>
            </a:r>
          </a:p>
        </p:txBody>
      </p:sp>
      <p:sp>
        <p:nvSpPr>
          <p:cNvPr id="3" name="Rechteck 2"/>
          <p:cNvSpPr/>
          <p:nvPr/>
        </p:nvSpPr>
        <p:spPr>
          <a:xfrm>
            <a:off x="8289664" y="6128948"/>
            <a:ext cx="939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💸 </a:t>
            </a:r>
          </a:p>
        </p:txBody>
      </p:sp>
    </p:spTree>
    <p:extLst>
      <p:ext uri="{BB962C8B-B14F-4D97-AF65-F5344CB8AC3E}">
        <p14:creationId xmlns:p14="http://schemas.microsoft.com/office/powerpoint/2010/main" val="2101006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Aunt Winnie and Uncle Harvey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3703" y="1746249"/>
            <a:ext cx="2783417" cy="2698752"/>
          </a:xfrm>
          <a:prstGeom prst="hear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und Winni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err="1" smtClean="0">
                <a:solidFill>
                  <a:srgbClr val="000000"/>
                </a:solidFill>
              </a:rPr>
              <a:t>Weder</a:t>
            </a:r>
            <a:r>
              <a:rPr lang="it-IT" dirty="0" smtClean="0">
                <a:solidFill>
                  <a:srgbClr val="000000"/>
                </a:solidFill>
              </a:rPr>
              <a:t> Harvey </a:t>
            </a:r>
            <a:r>
              <a:rPr lang="it-IT" dirty="0" err="1" smtClean="0">
                <a:solidFill>
                  <a:srgbClr val="000000"/>
                </a:solidFill>
              </a:rPr>
              <a:t>noch</a:t>
            </a:r>
            <a:r>
              <a:rPr lang="it-IT" dirty="0" smtClean="0">
                <a:solidFill>
                  <a:srgbClr val="000000"/>
                </a:solidFill>
              </a:rPr>
              <a:t> State </a:t>
            </a:r>
            <a:r>
              <a:rPr lang="it-IT" dirty="0" err="1" smtClean="0">
                <a:solidFill>
                  <a:srgbClr val="000000"/>
                </a:solidFill>
              </a:rPr>
              <a:t>Mutual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haben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ich</a:t>
            </a:r>
            <a:r>
              <a:rPr lang="it-IT" dirty="0" smtClean="0">
                <a:solidFill>
                  <a:srgbClr val="000000"/>
                </a:solidFill>
              </a:rPr>
              <a:t> die </a:t>
            </a:r>
            <a:r>
              <a:rPr lang="it-IT" dirty="0" err="1" smtClean="0">
                <a:solidFill>
                  <a:srgbClr val="000000"/>
                </a:solidFill>
              </a:rPr>
              <a:t>Nutzungsrecht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gesichert</a:t>
            </a:r>
            <a:r>
              <a:rPr lang="mr-IN" dirty="0" smtClean="0">
                <a:solidFill>
                  <a:srgbClr val="000000"/>
                </a:solidFill>
              </a:rPr>
              <a:t>…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Winifred A</a:t>
            </a:r>
            <a:r>
              <a:rPr lang="de-DE" dirty="0" smtClean="0"/>
              <a:t>. Ball, </a:t>
            </a:r>
            <a:r>
              <a:rPr lang="de-DE" dirty="0" err="1" smtClean="0"/>
              <a:t>n</a:t>
            </a:r>
            <a:r>
              <a:rPr lang="de-DE" dirty="0" err="1" smtClean="0"/>
              <a:t>ée</a:t>
            </a:r>
            <a:r>
              <a:rPr lang="de-DE" dirty="0" smtClean="0"/>
              <a:t> </a:t>
            </a:r>
            <a:r>
              <a:rPr lang="de-DE" dirty="0" err="1" smtClean="0"/>
              <a:t>trudell</a:t>
            </a:r>
            <a:r>
              <a:rPr lang="de-DE" dirty="0" smtClean="0"/>
              <a:t> </a:t>
            </a:r>
            <a:r>
              <a:rPr lang="de-DE" dirty="0"/>
              <a:t>(1923 - 2015) </a:t>
            </a:r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53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714500"/>
            <a:ext cx="1725083" cy="2296584"/>
          </a:xfrm>
          <a:prstGeom prst="ellipse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8310832" y="6150114"/>
            <a:ext cx="833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💑</a:t>
            </a:r>
          </a:p>
        </p:txBody>
      </p:sp>
    </p:spTree>
    <p:extLst>
      <p:ext uri="{BB962C8B-B14F-4D97-AF65-F5344CB8AC3E}">
        <p14:creationId xmlns:p14="http://schemas.microsoft.com/office/powerpoint/2010/main" val="3528587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5" name="Rechteck 24"/>
          <p:cNvSpPr/>
          <p:nvPr/>
        </p:nvSpPr>
        <p:spPr>
          <a:xfrm>
            <a:off x="8288205" y="6038334"/>
            <a:ext cx="6955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😴</a:t>
            </a:r>
          </a:p>
        </p:txBody>
      </p:sp>
      <p:pic>
        <p:nvPicPr>
          <p:cNvPr id="26" name="Bild 25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27" name="Bild 26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  <a:endParaRPr lang="de-DE" sz="1400" dirty="0" smtClean="0"/>
          </a:p>
        </p:txBody>
      </p:sp>
      <p:sp>
        <p:nvSpPr>
          <p:cNvPr id="31" name="Textfeld 30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</a:t>
            </a:r>
            <a:r>
              <a:rPr lang="de-DE" sz="1400" dirty="0" err="1" smtClean="0"/>
              <a:t>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32" name="Bild 31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33" name="Bild 32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56118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smtClean="0"/>
              <a:t>Achtung, Spoiler....</a:t>
            </a:r>
            <a:endParaRPr lang="de-DE" dirty="0"/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474085" y="4248085"/>
            <a:ext cx="1992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velyn </a:t>
            </a:r>
            <a:r>
              <a:rPr lang="de-DE" sz="1400" dirty="0" smtClean="0"/>
              <a:t>May Fitzpatrick</a:t>
            </a:r>
            <a:br>
              <a:rPr lang="de-DE" sz="1400" dirty="0" smtClean="0"/>
            </a:br>
            <a:r>
              <a:rPr lang="de-DE" sz="1400" dirty="0" err="1" smtClean="0"/>
              <a:t>n</a:t>
            </a:r>
            <a:r>
              <a:rPr lang="de-DE" sz="1400" dirty="0" err="1" smtClean="0"/>
              <a:t>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>
          <a:xfrm>
            <a:off x="769799" y="4248085"/>
            <a:ext cx="15114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Robert Joseph</a:t>
            </a:r>
          </a:p>
          <a:p>
            <a:pPr algn="ctr"/>
            <a:r>
              <a:rPr lang="de-DE" sz="1400" dirty="0" smtClean="0"/>
              <a:t>Fitzpatrick (Opa) 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</a:t>
            </a:r>
            <a:r>
              <a:rPr lang="de-DE" sz="1400" dirty="0" err="1" smtClean="0"/>
              <a:t>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23" name="Bild 22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24" name="Bild 23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8318024" y="6070084"/>
            <a:ext cx="7061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😬</a:t>
            </a:r>
          </a:p>
        </p:txBody>
      </p:sp>
    </p:spTree>
    <p:extLst>
      <p:ext uri="{BB962C8B-B14F-4D97-AF65-F5344CB8AC3E}">
        <p14:creationId xmlns:p14="http://schemas.microsoft.com/office/powerpoint/2010/main" val="2007341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painting-cropped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53" y="1563076"/>
            <a:ext cx="2256692" cy="2051539"/>
          </a:xfrm>
          <a:prstGeom prst="rect">
            <a:avLst/>
          </a:prstGeom>
        </p:spPr>
      </p:pic>
      <p:pic>
        <p:nvPicPr>
          <p:cNvPr id="5" name="Bild 4" descr="harvey_wedding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6392" y="1563076"/>
            <a:ext cx="3375624" cy="2772833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4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53" y="3994549"/>
            <a:ext cx="3485521" cy="2588343"/>
          </a:xfrm>
          <a:prstGeom prst="rect">
            <a:avLst/>
          </a:prstGeom>
        </p:spPr>
      </p:pic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573853" y="544256"/>
            <a:ext cx="7968163" cy="355281"/>
          </a:xfrm>
        </p:spPr>
        <p:txBody>
          <a:bodyPr/>
          <a:lstStyle/>
          <a:p>
            <a:r>
              <a:rPr lang="it-IT" dirty="0" err="1" smtClean="0"/>
              <a:t>Onkel</a:t>
            </a:r>
            <a:r>
              <a:rPr lang="it-IT" dirty="0" smtClean="0"/>
              <a:t> </a:t>
            </a:r>
            <a:r>
              <a:rPr lang="it-IT" dirty="0" err="1" smtClean="0"/>
              <a:t>harvey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71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Sexting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23118"/>
            <a:ext cx="6744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🔥</a:t>
            </a:r>
          </a:p>
        </p:txBody>
      </p:sp>
    </p:spTree>
    <p:extLst>
      <p:ext uri="{BB962C8B-B14F-4D97-AF65-F5344CB8AC3E}">
        <p14:creationId xmlns:p14="http://schemas.microsoft.com/office/powerpoint/2010/main" val="14147181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bs-20-25-DW-Kultur-Stralsund-jpg.jpg"/>
          <p:cNvPicPr>
            <a:picLocks noChangeAspect="1"/>
          </p:cNvPicPr>
          <p:nvPr/>
        </p:nvPicPr>
        <p:blipFill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36599" y="-1135489"/>
            <a:ext cx="10299700" cy="1006836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rie und </a:t>
            </a:r>
            <a:r>
              <a:rPr lang="it-IT" dirty="0" err="1" smtClean="0"/>
              <a:t>axel</a:t>
            </a:r>
            <a:r>
              <a:rPr lang="it-IT" dirty="0" smtClean="0"/>
              <a:t> 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Es war kein Geheimnis, dass Graf Axel von Fersen ein Favorit Marie Antoinettes war</a:t>
            </a:r>
            <a:r>
              <a:rPr lang="de-DE" dirty="0" smtClean="0"/>
              <a:t>...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Bild 6" descr="927c0324cdc5cf386b7dc74341e20cc0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98270" y="1936750"/>
            <a:ext cx="2055518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Bild 7" descr="1200px-Marie-Antoinette,_1775_-_Musée_Antoine_Lécuyer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9269" y="1936750"/>
            <a:ext cx="2132071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37290" y="6116135"/>
            <a:ext cx="93559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⚔️</a:t>
            </a:r>
          </a:p>
        </p:txBody>
      </p:sp>
      <p:sp>
        <p:nvSpPr>
          <p:cNvPr id="17" name="Rechteck 16"/>
          <p:cNvSpPr/>
          <p:nvPr/>
        </p:nvSpPr>
        <p:spPr>
          <a:xfrm>
            <a:off x="3707896" y="3399800"/>
            <a:ext cx="156748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💌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80097" y="418288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⚜️</a:t>
            </a:r>
          </a:p>
        </p:txBody>
      </p:sp>
      <p:sp>
        <p:nvSpPr>
          <p:cNvPr id="21" name="Rettangolo 9"/>
          <p:cNvSpPr/>
          <p:nvPr/>
        </p:nvSpPr>
        <p:spPr>
          <a:xfrm>
            <a:off x="1155918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https://.... Fehlanzeige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77832" y="5505758"/>
            <a:ext cx="4627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200" dirty="0"/>
              <a:t>🔒 </a:t>
            </a:r>
          </a:p>
        </p:txBody>
      </p:sp>
    </p:spTree>
    <p:extLst>
      <p:ext uri="{BB962C8B-B14F-4D97-AF65-F5344CB8AC3E}">
        <p14:creationId xmlns:p14="http://schemas.microsoft.com/office/powerpoint/2010/main" val="27773368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als</a:t>
            </a:r>
            <a:r>
              <a:rPr lang="it-IT" dirty="0" smtClean="0"/>
              <a:t> </a:t>
            </a:r>
            <a:r>
              <a:rPr lang="it-IT" dirty="0" err="1" smtClean="0"/>
              <a:t>sprache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mr-IN" dirty="0" smtClean="0"/>
              <a:t>…</a:t>
            </a:r>
            <a:endParaRPr lang="it-IT" dirty="0"/>
          </a:p>
        </p:txBody>
      </p:sp>
      <p:sp>
        <p:nvSpPr>
          <p:cNvPr id="3" name="Rechteck 2"/>
          <p:cNvSpPr/>
          <p:nvPr/>
        </p:nvSpPr>
        <p:spPr>
          <a:xfrm>
            <a:off x="1328475" y="1407719"/>
            <a:ext cx="6301296" cy="6494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5000" dirty="0"/>
              <a:t>💄 💋 </a:t>
            </a:r>
            <a:r>
              <a:rPr lang="de-DE" sz="5000" dirty="0" smtClean="0"/>
              <a:t>👄  👅 </a:t>
            </a:r>
            <a:r>
              <a:rPr lang="de-DE" sz="5000" dirty="0"/>
              <a:t>🍓 🍒 🍑 </a:t>
            </a:r>
            <a:r>
              <a:rPr lang="de-DE" sz="5000" dirty="0" smtClean="0"/>
              <a:t>🍆  🛌  </a:t>
            </a:r>
            <a:r>
              <a:rPr lang="de-DE" sz="5000" dirty="0"/>
              <a:t>🎉  🏓  ⛳️  </a:t>
            </a:r>
            <a:r>
              <a:rPr lang="de-DE" sz="5000" dirty="0" smtClean="0"/>
              <a:t>🏹 </a:t>
            </a:r>
            <a:r>
              <a:rPr lang="de-DE" sz="5000" dirty="0"/>
              <a:t>💞 💓  </a:t>
            </a:r>
            <a:r>
              <a:rPr lang="de-DE" sz="5000" dirty="0" smtClean="0"/>
              <a:t>🥅  💗  💖 </a:t>
            </a:r>
            <a:r>
              <a:rPr lang="de-DE" sz="5000" dirty="0"/>
              <a:t>💘 </a:t>
            </a:r>
            <a:r>
              <a:rPr lang="de-DE" sz="5000" dirty="0" smtClean="0"/>
              <a:t>💝 </a:t>
            </a:r>
            <a:r>
              <a:rPr lang="de-DE" sz="5000" dirty="0"/>
              <a:t>🌶 🍭 🍬 </a:t>
            </a:r>
            <a:r>
              <a:rPr lang="de-DE" sz="5000" dirty="0" smtClean="0"/>
              <a:t> 🥂  </a:t>
            </a:r>
            <a:r>
              <a:rPr lang="de-DE" sz="5400" dirty="0" smtClean="0"/>
              <a:t>🔗 🖇</a:t>
            </a:r>
            <a:r>
              <a:rPr lang="de-DE" sz="5000" dirty="0" smtClean="0"/>
              <a:t> 🍌 </a:t>
            </a:r>
            <a:r>
              <a:rPr lang="de-DE" sz="5000" dirty="0"/>
              <a:t> 🎥</a:t>
            </a:r>
            <a:r>
              <a:rPr lang="de-DE" sz="5000" dirty="0" smtClean="0"/>
              <a:t> </a:t>
            </a:r>
            <a:r>
              <a:rPr lang="de-DE" sz="5400" dirty="0"/>
              <a:t> </a:t>
            </a:r>
            <a:r>
              <a:rPr lang="de-DE" sz="5400" dirty="0" smtClean="0"/>
              <a:t>💣  </a:t>
            </a:r>
            <a:r>
              <a:rPr lang="de-DE" sz="5000" dirty="0" smtClean="0"/>
              <a:t>🍾  🔞 </a:t>
            </a:r>
            <a:r>
              <a:rPr lang="de-DE" sz="5400" dirty="0" smtClean="0"/>
              <a:t>🛁 </a:t>
            </a:r>
            <a:endParaRPr lang="de-DE" sz="5400" dirty="0"/>
          </a:p>
          <a:p>
            <a:pPr algn="ctr"/>
            <a:endParaRPr lang="de-DE" sz="5000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     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1" name="Rechteck 30"/>
          <p:cNvSpPr/>
          <p:nvPr/>
        </p:nvSpPr>
        <p:spPr>
          <a:xfrm>
            <a:off x="8362462" y="6019745"/>
            <a:ext cx="5959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📱</a:t>
            </a:r>
          </a:p>
        </p:txBody>
      </p:sp>
    </p:spTree>
    <p:extLst>
      <p:ext uri="{BB962C8B-B14F-4D97-AF65-F5344CB8AC3E}">
        <p14:creationId xmlns:p14="http://schemas.microsoft.com/office/powerpoint/2010/main" val="40279434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tmp337303300560912386.jpg"/>
          <p:cNvPicPr>
            <a:picLocks noChangeAspect="1"/>
          </p:cNvPicPr>
          <p:nvPr/>
        </p:nvPicPr>
        <p:blipFill>
          <a:blip r:embed="rId2">
            <a:alphaModFix amt="5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286000"/>
            <a:ext cx="9144000" cy="9144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8" descr="2000px-EgyptianA-01_black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6487" y="1665516"/>
            <a:ext cx="3657013" cy="3657013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8387300" y="6104754"/>
            <a:ext cx="6491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🐮</a:t>
            </a:r>
          </a:p>
        </p:txBody>
      </p:sp>
    </p:spTree>
    <p:extLst>
      <p:ext uri="{BB962C8B-B14F-4D97-AF65-F5344CB8AC3E}">
        <p14:creationId xmlns:p14="http://schemas.microsoft.com/office/powerpoint/2010/main" val="12138962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339552" y="6101269"/>
            <a:ext cx="6491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🙈</a:t>
            </a:r>
          </a:p>
        </p:txBody>
      </p:sp>
      <p:sp>
        <p:nvSpPr>
          <p:cNvPr id="7" name="Rechteck 6"/>
          <p:cNvSpPr/>
          <p:nvPr/>
        </p:nvSpPr>
        <p:spPr>
          <a:xfrm>
            <a:off x="3356204" y="2111103"/>
            <a:ext cx="30621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0" dirty="0"/>
              <a:t>🛏</a:t>
            </a:r>
          </a:p>
        </p:txBody>
      </p:sp>
    </p:spTree>
    <p:extLst>
      <p:ext uri="{BB962C8B-B14F-4D97-AF65-F5344CB8AC3E}">
        <p14:creationId xmlns:p14="http://schemas.microsoft.com/office/powerpoint/2010/main" val="31834007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8279084" y="6070083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🤑</a:t>
            </a:r>
          </a:p>
        </p:txBody>
      </p:sp>
      <p:pic>
        <p:nvPicPr>
          <p:cNvPr id="3" name="Bild 2" descr="Paypal-Logo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2334" y="2381844"/>
            <a:ext cx="6555292" cy="1978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9222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6" name="Rechteck 5"/>
          <p:cNvSpPr/>
          <p:nvPr/>
        </p:nvSpPr>
        <p:spPr>
          <a:xfrm>
            <a:off x="7236744" y="3117946"/>
            <a:ext cx="8347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6000" dirty="0"/>
              <a:t>🍻</a:t>
            </a:r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Nerdy</a:t>
            </a:r>
            <a:r>
              <a:rPr lang="it-IT" dirty="0" smtClean="0"/>
              <a:t> </a:t>
            </a:r>
            <a:r>
              <a:rPr lang="it-IT" dirty="0" err="1" smtClean="0"/>
              <a:t>stuff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it-IT" smtClean="0"/>
              <a:t>Optional subtitle</a:t>
            </a:r>
            <a:endParaRPr lang="it-IT" dirty="0"/>
          </a:p>
        </p:txBody>
      </p:sp>
      <p:pic>
        <p:nvPicPr>
          <p:cNvPr id="5" name="Bild 4" descr="Taurus-the-Bull-in-Egyptian-hieroglyph-leads-to-the-first-letter-in-the-alphabet-I-Writer-Mariecor-I-WriterMariecor.com-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161" y="1030648"/>
            <a:ext cx="5973925" cy="497628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72244" y="938175"/>
            <a:ext cx="6818636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758450" y="2329440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758450" y="4241236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91296" y="5568501"/>
            <a:ext cx="1233638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5559011" y="5787714"/>
            <a:ext cx="2123667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6148637" y="3379100"/>
            <a:ext cx="1534042" cy="701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160930" y="4607556"/>
            <a:ext cx="107599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591130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Hornochsen</a:t>
            </a:r>
            <a:r>
              <a:rPr lang="it-IT" dirty="0" smtClean="0"/>
              <a:t> </a:t>
            </a:r>
            <a:r>
              <a:rPr lang="it-IT" dirty="0" err="1" smtClean="0"/>
              <a:t>überall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8795648"/>
              </p:ext>
            </p:extLst>
          </p:nvPr>
        </p:nvGraphicFramePr>
        <p:xfrm>
          <a:off x="603249" y="1243363"/>
          <a:ext cx="7937501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8773"/>
                <a:gridCol w="3330861"/>
                <a:gridCol w="295786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emoji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Elif?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der 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f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Phönizien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he-IL" sz="5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א</a:t>
                      </a:r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ph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Semitischer Sprachraum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ar-sa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أ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lyf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 / Elif = Ochsen 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horn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rabischer und Persischer Sprachraum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 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lpha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Römisch, Griechisch 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pic>
        <p:nvPicPr>
          <p:cNvPr id="4" name="Bild 3" descr="alef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249" y="2702344"/>
            <a:ext cx="760479" cy="760479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8348765" y="6112037"/>
            <a:ext cx="7467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🗺</a:t>
            </a:r>
          </a:p>
        </p:txBody>
      </p: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792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Von 63 </a:t>
            </a:r>
            <a:r>
              <a:rPr lang="it-IT" sz="3000" dirty="0">
                <a:latin typeface="Arial"/>
                <a:cs typeface="Arial"/>
              </a:rPr>
              <a:t>(v. </a:t>
            </a:r>
            <a:r>
              <a:rPr lang="it-IT" sz="3000" dirty="0" err="1">
                <a:latin typeface="Arial"/>
                <a:cs typeface="Arial"/>
              </a:rPr>
              <a:t>Chr</a:t>
            </a:r>
            <a:r>
              <a:rPr lang="it-IT" sz="3000" dirty="0">
                <a:latin typeface="Arial"/>
                <a:cs typeface="Arial"/>
              </a:rPr>
              <a:t>.)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bis 1963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363112" y="6012535"/>
            <a:ext cx="653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🏛</a:t>
            </a:r>
          </a:p>
        </p:txBody>
      </p:sp>
    </p:spTree>
    <p:extLst>
      <p:ext uri="{BB962C8B-B14F-4D97-AF65-F5344CB8AC3E}">
        <p14:creationId xmlns:p14="http://schemas.microsoft.com/office/powerpoint/2010/main" val="1935044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DSC00977-Copy.jpg"/>
          <p:cNvPicPr>
            <a:picLocks noChangeAspect="1"/>
          </p:cNvPicPr>
          <p:nvPr/>
        </p:nvPicPr>
        <p:blipFill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Das</a:t>
            </a:r>
            <a:r>
              <a:rPr lang="it-IT" dirty="0" smtClean="0"/>
              <a:t> </a:t>
            </a:r>
            <a:r>
              <a:rPr lang="it-IT" dirty="0" err="1" smtClean="0"/>
              <a:t>bekanNtEste</a:t>
            </a:r>
            <a:r>
              <a:rPr lang="it-IT" dirty="0" smtClean="0"/>
              <a:t> 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42583" y="6091249"/>
            <a:ext cx="7180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😍</a:t>
            </a:r>
          </a:p>
        </p:txBody>
      </p:sp>
      <p:sp>
        <p:nvSpPr>
          <p:cNvPr id="18" name="Rechteck 17"/>
          <p:cNvSpPr/>
          <p:nvPr/>
        </p:nvSpPr>
        <p:spPr>
          <a:xfrm>
            <a:off x="3533170" y="2364074"/>
            <a:ext cx="227056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5000" dirty="0"/>
              <a:t>🙂</a:t>
            </a:r>
          </a:p>
        </p:txBody>
      </p:sp>
    </p:spTree>
    <p:extLst>
      <p:ext uri="{BB962C8B-B14F-4D97-AF65-F5344CB8AC3E}">
        <p14:creationId xmlns:p14="http://schemas.microsoft.com/office/powerpoint/2010/main" val="25059797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office2.jpg"/>
          <p:cNvPicPr>
            <a:picLocks noChangeAspect="1"/>
          </p:cNvPicPr>
          <p:nvPr/>
        </p:nvPicPr>
        <p:blipFill>
          <a:blip r:embed="rId2" cstate="screen">
            <a:alphaModFix amt="6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3397" y="0"/>
            <a:ext cx="1027557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Vom</a:t>
            </a:r>
            <a:r>
              <a:rPr lang="it-IT" dirty="0"/>
              <a:t> smiley </a:t>
            </a:r>
            <a:r>
              <a:rPr lang="it-IT" dirty="0" err="1" smtClean="0"/>
              <a:t>zuM</a:t>
            </a:r>
            <a:r>
              <a:rPr lang="it-IT" dirty="0" smtClean="0"/>
              <a:t> </a:t>
            </a:r>
            <a:r>
              <a:rPr lang="it-IT" dirty="0" err="1"/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State Mutual Life Assurance </a:t>
            </a:r>
            <a:r>
              <a:rPr lang="de-DE" dirty="0" smtClean="0"/>
              <a:t>Company</a:t>
            </a:r>
          </a:p>
          <a:p>
            <a:r>
              <a:rPr lang="de-DE" dirty="0" smtClean="0"/>
              <a:t>kauft </a:t>
            </a:r>
            <a:r>
              <a:rPr lang="de-DE" dirty="0" err="1"/>
              <a:t>Guarantee</a:t>
            </a:r>
            <a:r>
              <a:rPr lang="de-DE" dirty="0"/>
              <a:t> Mutual </a:t>
            </a:r>
            <a:r>
              <a:rPr lang="de-DE" dirty="0" smtClean="0"/>
              <a:t>Company.</a:t>
            </a:r>
            <a:r>
              <a:rPr lang="de-DE" dirty="0"/>
              <a:t>..</a:t>
            </a:r>
            <a:endParaRPr lang="de-DE" dirty="0"/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grpSp>
        <p:nvGrpSpPr>
          <p:cNvPr id="4" name="Gruppierung 3"/>
          <p:cNvGrpSpPr/>
          <p:nvPr/>
        </p:nvGrpSpPr>
        <p:grpSpPr>
          <a:xfrm>
            <a:off x="1304568" y="5120155"/>
            <a:ext cx="6962029" cy="1705251"/>
            <a:chOff x="1304568" y="3811330"/>
            <a:chExt cx="6962029" cy="1705251"/>
          </a:xfrm>
        </p:grpSpPr>
        <p:sp>
          <p:nvSpPr>
            <p:cNvPr id="11" name="Rechteck 10"/>
            <p:cNvSpPr/>
            <p:nvPr/>
          </p:nvSpPr>
          <p:spPr>
            <a:xfrm>
              <a:off x="1304568" y="381133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073045" y="4263911"/>
              <a:ext cx="3249470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5000" dirty="0" smtClean="0"/>
                <a:t>+             = </a:t>
              </a:r>
              <a:endParaRPr lang="de-DE" sz="5000" dirty="0" smtClean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3940346" y="386167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713067" y="3885365"/>
              <a:ext cx="1553530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😤</a:t>
              </a:r>
            </a:p>
          </p:txBody>
        </p:sp>
      </p:grpSp>
      <p:sp>
        <p:nvSpPr>
          <p:cNvPr id="5" name="Rechteck 4"/>
          <p:cNvSpPr/>
          <p:nvPr/>
        </p:nvSpPr>
        <p:spPr>
          <a:xfrm>
            <a:off x="8361844" y="6152575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💥</a:t>
            </a:r>
          </a:p>
        </p:txBody>
      </p:sp>
    </p:spTree>
    <p:extLst>
      <p:ext uri="{BB962C8B-B14F-4D97-AF65-F5344CB8AC3E}">
        <p14:creationId xmlns:p14="http://schemas.microsoft.com/office/powerpoint/2010/main" val="2722180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</a:t>
            </a:r>
            <a:r>
              <a:rPr lang="it-IT" dirty="0" err="1" smtClean="0"/>
              <a:t>ball</a:t>
            </a:r>
            <a:r>
              <a:rPr lang="it-IT" dirty="0" smtClean="0"/>
              <a:t> </a:t>
            </a:r>
            <a:r>
              <a:rPr lang="en-US" sz="1600" dirty="0">
                <a:latin typeface="+mj-lt"/>
              </a:rPr>
              <a:t>(10. </a:t>
            </a:r>
            <a:r>
              <a:rPr lang="en-US" sz="1600" dirty="0" err="1">
                <a:latin typeface="+mj-lt"/>
              </a:rPr>
              <a:t>Juli</a:t>
            </a:r>
            <a:r>
              <a:rPr lang="en-US" sz="1600" dirty="0">
                <a:latin typeface="+mj-lt"/>
              </a:rPr>
              <a:t>, 1921 – 12 April, 2001)</a:t>
            </a:r>
            <a:endParaRPr lang="it-IT" sz="1600" dirty="0">
              <a:latin typeface="+mj-lt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8364878" y="6056708"/>
            <a:ext cx="6944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🎨</a:t>
            </a:r>
          </a:p>
        </p:txBody>
      </p:sp>
      <p:pic>
        <p:nvPicPr>
          <p:cNvPr id="5" name="Bild 4" descr="Aunt Winnie and Uncle Harvey.jpeg"/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605951">
            <a:off x="829162" y="1780415"/>
            <a:ext cx="2109172" cy="2097809"/>
          </a:xfrm>
          <a:prstGeom prst="rect">
            <a:avLst/>
          </a:prstGeom>
        </p:spPr>
      </p:pic>
      <p:pic>
        <p:nvPicPr>
          <p:cNvPr id="12" name="Bild 11" descr="painting-cropped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812" y="1179383"/>
            <a:ext cx="4177455" cy="5463169"/>
          </a:xfrm>
          <a:prstGeom prst="rect">
            <a:avLst/>
          </a:prstGeom>
        </p:spPr>
      </p:pic>
      <p:pic>
        <p:nvPicPr>
          <p:cNvPr id="2" name="Bild 1"/>
          <p:cNvPicPr>
            <a:picLocks noChangeAspect="1"/>
          </p:cNvPicPr>
          <p:nvPr/>
        </p:nvPicPr>
        <p:blipFill>
          <a:blip r:embed="rId5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1179383"/>
            <a:ext cx="3485521" cy="2588343"/>
          </a:xfrm>
          <a:prstGeom prst="rect">
            <a:avLst/>
          </a:prstGeom>
        </p:spPr>
      </p:pic>
      <p:pic>
        <p:nvPicPr>
          <p:cNvPr id="10" name="Bild 9" descr="hball--4x6-lores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4034473"/>
            <a:ext cx="1724608" cy="2586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516</Words>
  <Application>Microsoft Macintosh PowerPoint</Application>
  <PresentationFormat>Bildschirmpräsentation (4:3)</PresentationFormat>
  <Paragraphs>167</Paragraphs>
  <Slides>32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4" baseType="lpstr">
      <vt:lpstr>Reply PRESENTATION WHITE 4.3</vt:lpstr>
      <vt:lpstr>think-cell Folie</vt:lpstr>
      <vt:lpstr>Entstehung der modernen ikonografie</vt:lpstr>
      <vt:lpstr>Ein emoji der antike</vt:lpstr>
      <vt:lpstr>Echt jetzt!</vt:lpstr>
      <vt:lpstr>Nerdy stuff!</vt:lpstr>
      <vt:lpstr>Hornochsen überall</vt:lpstr>
      <vt:lpstr>Von 63 (v. Chr.) bis 1963</vt:lpstr>
      <vt:lpstr>Das bekanNtEste EMOJI</vt:lpstr>
      <vt:lpstr>Vom smiley zuM emoji</vt:lpstr>
      <vt:lpstr>Harvey ball (10. Juli, 1921 – 12 April, 2001)</vt:lpstr>
      <vt:lpstr>Aus 100 wird 100.000</vt:lpstr>
      <vt:lpstr>Woher kam der erfolg?</vt:lpstr>
      <vt:lpstr>Icon, emoticon, emoji</vt:lpstr>
      <vt:lpstr>Übermittle eine botschaft!</vt:lpstr>
      <vt:lpstr>übersetzungen</vt:lpstr>
      <vt:lpstr>Emojis bilden sätze</vt:lpstr>
      <vt:lpstr>Emojis bilden sätze</vt:lpstr>
      <vt:lpstr>Emojis bilden sätze</vt:lpstr>
      <vt:lpstr>Emojis bilden sätze</vt:lpstr>
      <vt:lpstr>Emojis bilden sätze</vt:lpstr>
      <vt:lpstr>$45,00</vt:lpstr>
      <vt:lpstr>Aus $45,00 wird… ruhm &amp; ehre</vt:lpstr>
      <vt:lpstr>Open source</vt:lpstr>
      <vt:lpstr>Harvey und Winnie</vt:lpstr>
      <vt:lpstr>familienstamMbaum</vt:lpstr>
      <vt:lpstr>familienstamMbaum</vt:lpstr>
      <vt:lpstr>Onkel harvey</vt:lpstr>
      <vt:lpstr>Sexting!</vt:lpstr>
      <vt:lpstr>Marie und axel </vt:lpstr>
      <vt:lpstr>Emojis als sprache der…</vt:lpstr>
      <vt:lpstr>PowerPoint-Präsentation</vt:lpstr>
      <vt:lpstr>PowerPoint-Präsentation</vt:lpstr>
      <vt:lpstr>Dankeschön!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415</cp:revision>
  <dcterms:created xsi:type="dcterms:W3CDTF">2017-05-03T19:08:02Z</dcterms:created>
  <dcterms:modified xsi:type="dcterms:W3CDTF">2017-11-11T08:58:56Z</dcterms:modified>
  <cp:category/>
</cp:coreProperties>
</file>